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4"/>
  </p:notesMasterIdLst>
  <p:sldIdLst>
    <p:sldId id="297" r:id="rId2"/>
    <p:sldId id="565" r:id="rId3"/>
    <p:sldId id="349" r:id="rId4"/>
    <p:sldId id="444" r:id="rId5"/>
    <p:sldId id="834" r:id="rId6"/>
    <p:sldId id="394" r:id="rId7"/>
    <p:sldId id="395" r:id="rId8"/>
    <p:sldId id="582" r:id="rId9"/>
    <p:sldId id="445" r:id="rId10"/>
    <p:sldId id="397" r:id="rId11"/>
    <p:sldId id="447" r:id="rId12"/>
    <p:sldId id="400" r:id="rId13"/>
    <p:sldId id="401" r:id="rId14"/>
    <p:sldId id="402" r:id="rId15"/>
    <p:sldId id="406" r:id="rId16"/>
    <p:sldId id="837" r:id="rId17"/>
    <p:sldId id="298" r:id="rId18"/>
    <p:sldId id="299" r:id="rId19"/>
    <p:sldId id="350" r:id="rId20"/>
    <p:sldId id="383" r:id="rId21"/>
    <p:sldId id="384" r:id="rId22"/>
    <p:sldId id="385" r:id="rId23"/>
    <p:sldId id="387" r:id="rId24"/>
    <p:sldId id="388" r:id="rId25"/>
    <p:sldId id="389" r:id="rId26"/>
    <p:sldId id="391" r:id="rId27"/>
    <p:sldId id="390" r:id="rId28"/>
    <p:sldId id="448" r:id="rId29"/>
    <p:sldId id="449" r:id="rId30"/>
    <p:sldId id="392" r:id="rId31"/>
    <p:sldId id="450" r:id="rId32"/>
    <p:sldId id="405" r:id="rId33"/>
    <p:sldId id="407" r:id="rId34"/>
    <p:sldId id="408" r:id="rId35"/>
    <p:sldId id="386" r:id="rId36"/>
    <p:sldId id="393" r:id="rId37"/>
    <p:sldId id="358" r:id="rId38"/>
    <p:sldId id="410" r:id="rId39"/>
    <p:sldId id="411" r:id="rId40"/>
    <p:sldId id="412" r:id="rId41"/>
    <p:sldId id="413" r:id="rId42"/>
    <p:sldId id="838" r:id="rId43"/>
    <p:sldId id="414" r:id="rId44"/>
    <p:sldId id="451" r:id="rId45"/>
    <p:sldId id="415" r:id="rId46"/>
    <p:sldId id="416" r:id="rId47"/>
    <p:sldId id="418" r:id="rId48"/>
    <p:sldId id="417" r:id="rId49"/>
    <p:sldId id="419" r:id="rId50"/>
    <p:sldId id="420" r:id="rId51"/>
    <p:sldId id="452" r:id="rId52"/>
    <p:sldId id="421" r:id="rId53"/>
    <p:sldId id="422" r:id="rId54"/>
    <p:sldId id="425" r:id="rId55"/>
    <p:sldId id="423" r:id="rId56"/>
    <p:sldId id="424" r:id="rId57"/>
    <p:sldId id="426" r:id="rId58"/>
    <p:sldId id="427" r:id="rId59"/>
    <p:sldId id="428" r:id="rId60"/>
    <p:sldId id="429" r:id="rId61"/>
    <p:sldId id="431" r:id="rId62"/>
    <p:sldId id="453" r:id="rId63"/>
    <p:sldId id="432" r:id="rId64"/>
    <p:sldId id="433" r:id="rId65"/>
    <p:sldId id="438" r:id="rId66"/>
    <p:sldId id="454" r:id="rId67"/>
    <p:sldId id="459" r:id="rId68"/>
    <p:sldId id="457" r:id="rId69"/>
    <p:sldId id="458" r:id="rId70"/>
    <p:sldId id="461" r:id="rId71"/>
    <p:sldId id="572" r:id="rId72"/>
    <p:sldId id="579" r:id="rId7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04" autoAdjust="0"/>
    <p:restoredTop sz="94162" autoAdjust="0"/>
  </p:normalViewPr>
  <p:slideViewPr>
    <p:cSldViewPr snapToGrid="0">
      <p:cViewPr varScale="1">
        <p:scale>
          <a:sx n="105" d="100"/>
          <a:sy n="105" d="100"/>
        </p:scale>
        <p:origin x="1800" y="1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notesMaster" Target="notesMasters/notesMaster1.xml"/><Relationship Id="rId79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9/27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6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237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ancy</a:t>
            </a:r>
            <a:r>
              <a:rPr lang="en-US" baseline="0" dirty="0"/>
              <a:t> way of saying reviewing identical houses but with 1 bedroom and 2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6670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We’d ideally want a lower number relative to its coefficients.  In other words, the lower the better since it measures how much we can trust the coefficient relationship.  If the </a:t>
            </a:r>
            <a:r>
              <a:rPr lang="en-US" sz="1200" dirty="0" err="1"/>
              <a:t>std</a:t>
            </a:r>
            <a:r>
              <a:rPr lang="en-US" sz="1200" dirty="0"/>
              <a:t> error is more</a:t>
            </a:r>
            <a:r>
              <a:rPr lang="en-US" sz="1200" baseline="0" dirty="0"/>
              <a:t> than the coefficient you can’t really trust the coefficient since it could be positive or negative…the model couldn’t figure it out.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799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-VALUE We want it to be far away from zero as this would indicate we could reject the null hypothesis - that is, we could declare a relationship between weight and price exist.   According to T, We are less confident about cylinder displacement (cc)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price’s relationship.  The signal of price isn’t really in the variable “cc” and is likely captured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weight and hp.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914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fter slide back to script </a:t>
            </a:r>
          </a:p>
          <a:p>
            <a:r>
              <a:rPr lang="en-US" dirty="0" err="1">
                <a:effectLst/>
              </a:rPr>
              <a:t>C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Automati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Met_Color_clean</a:t>
            </a:r>
            <a:endParaRPr lang="en-US" dirty="0">
              <a:effectLst/>
            </a:endParaRPr>
          </a:p>
          <a:p>
            <a:endParaRPr lang="en-US" baseline="0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effectLst/>
              </a:rPr>
              <a:t>Fuel_Type_catP</a:t>
            </a:r>
            <a:r>
              <a:rPr lang="en-US" dirty="0">
                <a:effectLst/>
              </a:rPr>
              <a:t> (prevalence) </a:t>
            </a:r>
            <a:r>
              <a:rPr lang="en-US" dirty="0" err="1">
                <a:effectLst/>
              </a:rPr>
              <a:t>ie</a:t>
            </a:r>
            <a:r>
              <a:rPr lang="en-US" dirty="0">
                <a:effectLst/>
              </a:rPr>
              <a:t>.</a:t>
            </a:r>
            <a:r>
              <a:rPr lang="en-US" baseline="0" dirty="0">
                <a:effectLst/>
              </a:rPr>
              <a:t> 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42% of the time that level appeared.  </a:t>
            </a:r>
            <a:r>
              <a:rPr lang="en-US" sz="1200" b="1" dirty="0" err="1">
                <a:solidFill>
                  <a:srgbClr val="333333"/>
                </a:solidFill>
                <a:latin typeface="Helvetica Neue"/>
              </a:rPr>
              <a:t>X_catP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 =.42 for all level A observ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333"/>
                </a:solidFill>
                <a:latin typeface="Helvetica Neue"/>
              </a:rPr>
              <a:t>GO</a:t>
            </a:r>
            <a:r>
              <a:rPr lang="en-US" sz="1200" baseline="0" dirty="0">
                <a:solidFill>
                  <a:srgbClr val="333333"/>
                </a:solidFill>
                <a:latin typeface="Helvetica Neue"/>
              </a:rPr>
              <a:t> BACK TO SCRIPT ~LINE60</a:t>
            </a: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382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7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6C90C366-52D6-4EF7-AF20-EF2D72A63B49}" type="slidenum">
              <a:rPr lang="en-US" altLang="en-US" smtClean="0"/>
              <a:pPr>
                <a:defRPr/>
              </a:pPr>
              <a:t>1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01912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9/27/20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9/27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9/27/20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9/27/20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9/27/20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9/27/20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9/27/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9/27/20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9/27/20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9/27/20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9/27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jpe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gi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7.pn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9/27/20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test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Footer Placeholder 5">
            <a:extLst>
              <a:ext uri="{FF2B5EF4-FFF2-40B4-BE49-F238E27FC236}">
                <a16:creationId xmlns:a16="http://schemas.microsoft.com/office/drawing/2014/main" id="{16BA2CBA-E188-9046-874C-3E46C0B8D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sp>
        <p:nvSpPr>
          <p:cNvPr id="33" name="Footer Placeholder 5">
            <a:extLst>
              <a:ext uri="{FF2B5EF4-FFF2-40B4-BE49-F238E27FC236}">
                <a16:creationId xmlns:a16="http://schemas.microsoft.com/office/drawing/2014/main" id="{36F89562-CBB1-E44D-8238-F62E5861C3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seldom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14ED30B5-3962-294C-824D-CC04CDFCB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Gla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Next Glass Wine &amp; Beer Ap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5964" y="1394980"/>
            <a:ext cx="7232073" cy="40680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2525" y="5503026"/>
            <a:ext cx="6944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Next Glass is now out of business but leveraged chemistry &amp; modeling for it’s business model.</a:t>
            </a:r>
          </a:p>
        </p:txBody>
      </p:sp>
    </p:spTree>
    <p:extLst>
      <p:ext uri="{BB962C8B-B14F-4D97-AF65-F5344CB8AC3E}">
        <p14:creationId xmlns:p14="http://schemas.microsoft.com/office/powerpoint/2010/main" val="155851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9706" y="2812630"/>
            <a:ext cx="2283619" cy="2245524"/>
            <a:chOff x="2293158" y="1838325"/>
            <a:chExt cx="4567238" cy="4491048"/>
          </a:xfrm>
        </p:grpSpPr>
        <p:sp>
          <p:nvSpPr>
            <p:cNvPr id="7" name="Flowchart: Magnetic Disk 6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1" name="Group 80"/>
          <p:cNvGrpSpPr>
            <a:grpSpLocks noChangeAspect="1"/>
          </p:cNvGrpSpPr>
          <p:nvPr/>
        </p:nvGrpSpPr>
        <p:grpSpPr>
          <a:xfrm>
            <a:off x="6029109" y="2795543"/>
            <a:ext cx="2316871" cy="2279699"/>
            <a:chOff x="2288381" y="1838325"/>
            <a:chExt cx="4564278" cy="4491048"/>
          </a:xfrm>
        </p:grpSpPr>
        <p:sp>
          <p:nvSpPr>
            <p:cNvPr id="55" name="Flowchart: Magnetic Disk 54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Flowchart: Magnetic Disk 55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Flowchart: Magnetic Disk 56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Flowchart: Magnetic Disk 57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Flowchart: Magnetic Disk 58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Flowchart: Magnetic Disk 59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Flowchart: Magnetic Disk 60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Flowchart: Magnetic Disk 61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Flowchart: Magnetic Disk 62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Flowchart: Magnetic Disk 63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Isosceles Triangle 65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lowchart: Magnetic Disk 66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Flowchart: Magnetic Disk 67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9" name="Flowchart: Magnetic Disk 68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Flowchart: Magnetic Disk 69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1" name="Flowchart: Magnetic Disk 70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Flowchart: Magnetic Disk 71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Flowchart: Magnetic Disk 72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Flowchart: Magnetic Disk 73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Flowchart: Magnetic Disk 78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Flowchart: Magnetic Disk 79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3339619" y="2795543"/>
            <a:ext cx="2316871" cy="2279699"/>
            <a:chOff x="2288381" y="1838325"/>
            <a:chExt cx="4564278" cy="4491048"/>
          </a:xfrm>
        </p:grpSpPr>
        <p:sp>
          <p:nvSpPr>
            <p:cNvPr id="83" name="Flowchart: Magnetic Disk 82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lowchart: Magnetic Disk 83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Flowchart: Magnetic Disk 84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Flowchart: Magnetic Disk 85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lowchart: Magnetic Disk 86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Flowchart: Magnetic Disk 87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Flowchart: Magnetic Disk 88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Flowchart: Magnetic Disk 89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Flowchart: Magnetic Disk 90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Flowchart: Magnetic Disk 91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Isosceles Triangle 92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lowchart: Magnetic Disk 93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lowchart: Magnetic Disk 94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lowchart: Magnetic Disk 95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lowchart: Magnetic Disk 96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lowchart: Magnetic Disk 97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lowchart: Magnetic Disk 98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lowchart: Magnetic Disk 99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lowchart: Magnetic Disk 100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lowchart: Magnetic Disk 101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lowchart: Magnetic Disk 102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999345" y="2111384"/>
            <a:ext cx="1104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431576" y="2111384"/>
            <a:ext cx="2132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Validation/Test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6215772" y="1972885"/>
            <a:ext cx="1943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Engineering/Train/</a:t>
            </a:r>
          </a:p>
          <a:p>
            <a:pPr algn="ctr"/>
            <a:r>
              <a:rPr lang="en-US" dirty="0"/>
              <a:t>Validation/Test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426787" y="1265905"/>
            <a:ext cx="32191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u="sng" dirty="0"/>
              <a:t>Open </a:t>
            </a:r>
            <a:r>
              <a:rPr lang="en-US" sz="2400" b="1" u="sng" dirty="0" err="1"/>
              <a:t>B_anotherGlass.R</a:t>
            </a:r>
            <a:endParaRPr lang="en-US" sz="2400" b="1" u="sng" dirty="0"/>
          </a:p>
        </p:txBody>
      </p:sp>
      <p:sp>
        <p:nvSpPr>
          <p:cNvPr id="76" name="Footer Placeholder 5">
            <a:extLst>
              <a:ext uri="{FF2B5EF4-FFF2-40B4-BE49-F238E27FC236}">
                <a16:creationId xmlns:a16="http://schemas.microsoft.com/office/drawing/2014/main" id="{9F10186E-7B18-9346-B7E5-6D6426C247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0257655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914400" y="16002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2400" dirty="0">
                <a:latin typeface="Franklin Gothic Book" pitchFamily="34" charset="0"/>
              </a:rPr>
              <a:t>Data Mining: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Supervised - Classification &amp; Prediction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Unsupervised-  Association Rules, Data Reduction, Data Exploration &amp; Visualization</a:t>
            </a:r>
          </a:p>
          <a:p>
            <a:r>
              <a:rPr lang="en-US" altLang="en-US" sz="2400" dirty="0">
                <a:latin typeface="Franklin Gothic Book" pitchFamily="34" charset="0"/>
              </a:rPr>
              <a:t>Before algorithms can be applied, data must be explored then pre-processed (treated)</a:t>
            </a:r>
          </a:p>
          <a:p>
            <a:r>
              <a:rPr lang="en-US" altLang="en-US" sz="2400" dirty="0">
                <a:latin typeface="Franklin Gothic Book" pitchFamily="34" charset="0"/>
              </a:rPr>
              <a:t>To evaluate performance and to avoid overfitting, data partitioning is used</a:t>
            </a:r>
          </a:p>
          <a:p>
            <a:r>
              <a:rPr lang="en-US" altLang="en-US" sz="2400" dirty="0">
                <a:latin typeface="Franklin Gothic Book" pitchFamily="34" charset="0"/>
              </a:rPr>
              <a:t>Models are fit to the training partition and assessed on the validation and test partitions</a:t>
            </a:r>
          </a:p>
          <a:p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4771" y="5453149"/>
            <a:ext cx="8046720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day’s lesson explores partitioning and simple prediction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6033828-A9F3-F84B-8E44-FCE10CDBD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204698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9/27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6781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upervised Learning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8800"/>
            <a:ext cx="7772400" cy="4572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Goal: Predict a single “target” or “outcome” variable 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raining data, where target value is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Score to data where value is not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Methods: Classification and </a:t>
            </a:r>
            <a:r>
              <a:rPr lang="en-US" altLang="en-US" u="sng" dirty="0">
                <a:latin typeface="Franklin Gothic Book" pitchFamily="34" charset="0"/>
              </a:rPr>
              <a:t>Predictio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>
              <a:buFont typeface="Wingdings 2" pitchFamily="18" charset="2"/>
              <a:buNone/>
            </a:pPr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44024948-E463-764F-B1B4-58E5D4C9D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615343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  <p:sp>
        <p:nvSpPr>
          <p:cNvPr id="42" name="Footer Placeholder 5">
            <a:extLst>
              <a:ext uri="{FF2B5EF4-FFF2-40B4-BE49-F238E27FC236}">
                <a16:creationId xmlns:a16="http://schemas.microsoft.com/office/drawing/2014/main" id="{8ACCC4AA-49A7-8A46-8872-BB55B839D7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FF763AB2-9B57-A642-868C-A8E20013A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0477561"/>
              </p:ext>
            </p:extLst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9/27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0534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1032A7D9-C4FC-1146-9EEB-11337D3971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4D18A85C-83E2-9643-9A92-3F05F2D799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DF1D7D29-F21A-A843-A684-F1AA165704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C18B81C-DF86-194E-AC2D-8641713CA1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72B20728-E4B2-324E-B66C-1C7B142AE5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63DC660-19FD-0F4D-BD02-7A08C6239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B17D141-E002-FB47-8314-0F77C200A8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002560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7CD9B0F-BAC7-9848-B6F6-BECF05BE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201177"/>
              </p:ext>
            </p:extLst>
          </p:nvPr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880DB6DC-FCE8-CE44-AE80-033C1388F4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Minimizing the Sum of Ordinary Least Squared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53E33A6-CC58-6B42-8D94-6C61B704B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Big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ooter Placeholder 5">
            <a:extLst>
              <a:ext uri="{FF2B5EF4-FFF2-40B4-BE49-F238E27FC236}">
                <a16:creationId xmlns:a16="http://schemas.microsoft.com/office/drawing/2014/main" id="{84CDA995-4632-AD4B-9075-874D80C9BB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298EE999-AC42-3349-9B80-3ABD0906B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102993"/>
              </p:ext>
            </p:extLst>
          </p:nvPr>
        </p:nvGraphicFramePr>
        <p:xfrm>
          <a:off x="1270958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638982"/>
              </p:ext>
            </p:extLst>
          </p:nvPr>
        </p:nvGraphicFramePr>
        <p:xfrm>
          <a:off x="5392273" y="2156844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978265"/>
              </p:ext>
            </p:extLst>
          </p:nvPr>
        </p:nvGraphicFramePr>
        <p:xfrm>
          <a:off x="7890233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315884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812481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3144990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500427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5455519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18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/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sz="2400" b="1" dirty="0">
                <a:solidFill>
                  <a:schemeClr val="accent1"/>
                </a:solidFill>
              </a:rPr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dirty="0"/>
              <a:t>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664035" y="540882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741332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5286895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-3</a:t>
            </a:r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35097F8E-0B0D-F346-8CD8-D5AADD7539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3" grpId="0" animBg="1"/>
      <p:bldP spid="14" grpId="0" animBg="1"/>
      <p:bldP spid="15" grpId="0" animBg="1"/>
      <p:bldP spid="19" grpId="0"/>
      <p:bldP spid="21" grpId="0" animBg="1"/>
      <p:bldP spid="22" grpId="0" animBg="1"/>
      <p:bldP spid="23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32508" y="1273235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Without squaring the errors positive &amp; negative prediction errors cancel each other out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5428" y="2612573"/>
            <a:ext cx="5585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(1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baseline="30000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982394" y="399566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82394" y="432817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quaring the error means all errors have the same impact on the optimization function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195" y="4058989"/>
            <a:ext cx="5833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24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6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81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4624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961 + </a:t>
            </a:r>
            <a:r>
              <a:rPr lang="en-US" dirty="0"/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+ 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25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5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1521</a:t>
            </a:r>
            <a:r>
              <a:rPr lang="en-US" dirty="0"/>
              <a:t>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32572" y="3857106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8445</a:t>
            </a:r>
          </a:p>
        </p:txBody>
      </p:sp>
      <p:sp>
        <p:nvSpPr>
          <p:cNvPr id="18" name="Down Arrow 17"/>
          <p:cNvSpPr/>
          <p:nvPr/>
        </p:nvSpPr>
        <p:spPr>
          <a:xfrm>
            <a:off x="2793452" y="3158836"/>
            <a:ext cx="349135" cy="7980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48618E73-0F32-2A4C-904C-C8544B900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373901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9172D24-5321-474F-ACEA-E42E86E7D5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33541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C_Regression.R</a:t>
            </a:r>
            <a:endParaRPr lang="en-US" sz="2800" b="1" u="sng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D6A1ED-B4E3-0940-A125-9241151B7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Topics</a:t>
            </a:r>
          </a:p>
        </p:txBody>
      </p:sp>
      <p:sp>
        <p:nvSpPr>
          <p:cNvPr id="9219" name="Rectangle 3"/>
          <p:cNvSpPr>
            <a:spLocks noGrp="1"/>
          </p:cNvSpPr>
          <p:nvPr>
            <p:ph type="body" idx="1"/>
          </p:nvPr>
        </p:nvSpPr>
        <p:spPr>
          <a:xfrm>
            <a:off x="914400" y="1676400"/>
            <a:ext cx="7772400" cy="4572000"/>
          </a:xfrm>
        </p:spPr>
        <p:txBody>
          <a:bodyPr/>
          <a:lstStyle/>
          <a:p>
            <a:r>
              <a:rPr lang="en-US" altLang="en-US" dirty="0">
                <a:latin typeface="Franklin Gothic Book" panose="020B0503020102020204" pitchFamily="34" charset="0"/>
              </a:rPr>
              <a:t>Explanatory vs. predictive modeling with regression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Example: prices of Toyota Corollas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Fitting a predictive model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Assessing predictive accuracy</a:t>
            </a:r>
          </a:p>
          <a:p>
            <a:r>
              <a:rPr lang="en-US" altLang="en-US" dirty="0">
                <a:latin typeface="Franklin Gothic Book" panose="020B0503020102020204" pitchFamily="34" charset="0"/>
              </a:rPr>
              <a:t>Selecting a subset of predictors</a:t>
            </a:r>
          </a:p>
          <a:p>
            <a:endParaRPr lang="en-US" altLang="en-US" dirty="0">
              <a:latin typeface="Franklin Gothic Book" panose="020B0503020102020204" pitchFamily="34" charset="0"/>
            </a:endParaRPr>
          </a:p>
        </p:txBody>
      </p:sp>
      <p:sp>
        <p:nvSpPr>
          <p:cNvPr id="9220" name="Footer Placeholder 3"/>
          <p:cNvSpPr>
            <a:spLocks noGrp="1"/>
          </p:cNvSpPr>
          <p:nvPr>
            <p:ph type="ftr" sz="quarter" idx="4294967295"/>
          </p:nvPr>
        </p:nvSpPr>
        <p:spPr bwMode="auto">
          <a:xfrm>
            <a:off x="914400" y="6172200"/>
            <a:ext cx="39624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chemeClr val="tx2"/>
                </a:solidFill>
                <a:latin typeface="Perpetua" panose="02020502060401020303" pitchFamily="18" charset="0"/>
              </a:rPr>
              <a:t>© Galit Shmueli and Peter Bruce 2017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5D5F80A3-3060-854D-89CC-953FED231B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4202594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DC98856-D1A5-824F-835D-56AC03F713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392" y="3007895"/>
            <a:ext cx="3720283" cy="118410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pic>
        <p:nvPicPr>
          <p:cNvPr id="17410" name="Picture 2" descr="children of the corn crazy eyes rivalry sibling - 658547148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265" y="1398242"/>
            <a:ext cx="3761220" cy="400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65761" y="2211184"/>
            <a:ext cx="4505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 is a positive relationship between number of rooms and housing prices.</a:t>
            </a:r>
          </a:p>
        </p:txBody>
      </p:sp>
      <p:sp>
        <p:nvSpPr>
          <p:cNvPr id="8" name="Rectangle 7"/>
          <p:cNvSpPr/>
          <p:nvPr/>
        </p:nvSpPr>
        <p:spPr>
          <a:xfrm>
            <a:off x="266007" y="1446415"/>
            <a:ext cx="4206240" cy="6317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/>
              <a:t>Reviewing beta coefficients can explain relationships</a:t>
            </a: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637236" y="3742478"/>
            <a:ext cx="714895" cy="4322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21426" y="4527664"/>
            <a:ext cx="45054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/>
              <a:t>Holding all other inputs constant </a:t>
            </a:r>
            <a:r>
              <a:rPr lang="en-US" dirty="0"/>
              <a:t>the median price would increase $3655 for each room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0AC6495A-84FB-CE45-A81C-668168955C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9918899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Explain relationship between predictors (explanatory variables) and target 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Familiar use of regression in data analysis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Fit the data well and understand the contribution of explanatory variables to the model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“goodness-of-fit”: R</a:t>
            </a:r>
            <a:r>
              <a:rPr lang="en-US" baseline="30000">
                <a:latin typeface="Franklin Gothic Book" pitchFamily="34" charset="0"/>
              </a:rPr>
              <a:t>2</a:t>
            </a:r>
            <a:r>
              <a:rPr lang="en-US">
                <a:latin typeface="Franklin Gothic Book" pitchFamily="34" charset="0"/>
              </a:rPr>
              <a:t>, residual analysis, p-values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CF009198-D96F-E943-9C87-9741A642E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439335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21506" name="Picture 2" descr="Image result for diamonds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77" y="1849957"/>
            <a:ext cx="4857750" cy="335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17153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predict target values in other data where we have predictor values, but not target values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Classic data mining context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</a:t>
            </a:r>
            <a:r>
              <a:rPr lang="en-US" b="1">
                <a:latin typeface="Franklin Gothic Book" pitchFamily="34" charset="0"/>
              </a:rPr>
              <a:t>Optimize predictive accuracy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Train model on training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Assess performance on validation (hold-out)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Explaining role of predictors is not primary purpose (but useful)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4A0423-B2D5-1646-86F9-1D8CF70D46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5874371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pic>
        <p:nvPicPr>
          <p:cNvPr id="19458" name="Picture 2" descr="Image result for rivalry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89" y="2106527"/>
            <a:ext cx="4606620" cy="3196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8338" y="2054850"/>
            <a:ext cx="38867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ke sure you understand the point of your project</a:t>
            </a:r>
          </a:p>
          <a:p>
            <a:pPr algn="ctr"/>
            <a:r>
              <a:rPr lang="en-US" dirty="0"/>
              <a:t>(explanatory or predictive)</a:t>
            </a:r>
          </a:p>
          <a:p>
            <a:pPr algn="ctr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understand a phenomen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make accurate predictions about the future?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4355869"/>
            <a:ext cx="4139738" cy="46551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 impacts how you evaluate the model and even what variables you choose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121D1001-942F-294E-B190-F0498FEF4F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5558468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9/27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0125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How does truecar.com know the price is “great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339678D3-32D2-2D4B-81E0-91049E9985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eah!  I got a new job!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D815C98-8ED6-DA41-A462-F9829543CC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le, 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Welcome Dale to </a:t>
            </a:r>
            <a:r>
              <a:rPr lang="en-US" dirty="0" err="1"/>
              <a:t>TrueCar’s</a:t>
            </a:r>
            <a:r>
              <a:rPr lang="en-US" dirty="0"/>
              <a:t> Competitor: </a:t>
            </a:r>
            <a:r>
              <a:rPr lang="en-US" dirty="0" err="1"/>
              <a:t>OldCar</a:t>
            </a:r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D2EBDB9A-A73C-8F4B-9173-C7F9882AA0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help Dale aga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t of course.  This sounds like a predictive modeling project.  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3C3A30A-9D0A-2B43-A615-F95A0DE5D3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0025" y="365126"/>
            <a:ext cx="8315325" cy="591477"/>
          </a:xfrm>
        </p:spPr>
        <p:txBody>
          <a:bodyPr/>
          <a:lstStyle/>
          <a:p>
            <a:r>
              <a:rPr lang="en-US" dirty="0"/>
              <a:t>Remember the Workflow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 dirty="0"/>
          </a:p>
        </p:txBody>
      </p:sp>
      <p:sp>
        <p:nvSpPr>
          <p:cNvPr id="6" name="Shape 848"/>
          <p:cNvSpPr txBox="1"/>
          <p:nvPr/>
        </p:nvSpPr>
        <p:spPr>
          <a:xfrm>
            <a:off x="203475" y="3081114"/>
            <a:ext cx="8451300" cy="20909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roblem Formulation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Predict Toyota Prices</a:t>
            </a:r>
            <a:r>
              <a:rPr lang="en" dirty="0">
                <a:latin typeface="Open Sans"/>
                <a:ea typeface="Open Sans"/>
                <a:cs typeface="Open Sans"/>
                <a:sym typeface="Open Sans"/>
              </a:rPr>
              <a:t>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efine data requiremen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Use ~1400 cars &amp; car attributes 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Explore the data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in script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erform Analysis &amp; Create Project Artifac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fit a linear regression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Asses/Adjust the Project Artifacts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Adj. R-Squared, P-Values etc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Communicate Resul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examine the coefficients and readout Adj R^2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ocument to make it repeatable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Keep notes in script</a:t>
            </a:r>
          </a:p>
        </p:txBody>
      </p:sp>
      <p:sp>
        <p:nvSpPr>
          <p:cNvPr id="7" name="Shape 836"/>
          <p:cNvSpPr/>
          <p:nvPr/>
        </p:nvSpPr>
        <p:spPr>
          <a:xfrm>
            <a:off x="34620" y="1430370"/>
            <a:ext cx="991379" cy="689700"/>
          </a:xfrm>
          <a:prstGeom prst="homePlate">
            <a:avLst>
              <a:gd name="adj" fmla="val 50000"/>
            </a:avLst>
          </a:prstGeom>
          <a:solidFill>
            <a:srgbClr val="DE732E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oblem Definition</a:t>
            </a:r>
          </a:p>
        </p:txBody>
      </p:sp>
      <p:sp>
        <p:nvSpPr>
          <p:cNvPr id="8" name="Shape 837"/>
          <p:cNvSpPr/>
          <p:nvPr/>
        </p:nvSpPr>
        <p:spPr>
          <a:xfrm>
            <a:off x="828573" y="1430370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dentify Available Data Sources</a:t>
            </a:r>
          </a:p>
        </p:txBody>
      </p:sp>
      <p:sp>
        <p:nvSpPr>
          <p:cNvPr id="10" name="Shape 839"/>
          <p:cNvSpPr/>
          <p:nvPr/>
        </p:nvSpPr>
        <p:spPr>
          <a:xfrm>
            <a:off x="2123295" y="1430370"/>
            <a:ext cx="123631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DA</a:t>
            </a:r>
          </a:p>
        </p:txBody>
      </p:sp>
      <p:sp>
        <p:nvSpPr>
          <p:cNvPr id="11" name="Shape 840"/>
          <p:cNvSpPr/>
          <p:nvPr/>
        </p:nvSpPr>
        <p:spPr>
          <a:xfrm>
            <a:off x="6029325" y="1430370"/>
            <a:ext cx="180263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mmunicate Results</a:t>
            </a:r>
          </a:p>
        </p:txBody>
      </p:sp>
      <p:sp>
        <p:nvSpPr>
          <p:cNvPr id="12" name="Shape 841"/>
          <p:cNvSpPr/>
          <p:nvPr/>
        </p:nvSpPr>
        <p:spPr>
          <a:xfrm>
            <a:off x="7634529" y="1430371"/>
            <a:ext cx="150947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ocument</a:t>
            </a:r>
          </a:p>
        </p:txBody>
      </p:sp>
      <p:sp>
        <p:nvSpPr>
          <p:cNvPr id="21" name="Shape 839"/>
          <p:cNvSpPr/>
          <p:nvPr/>
        </p:nvSpPr>
        <p:spPr>
          <a:xfrm>
            <a:off x="3162184" y="1425606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erform Analyssis </a:t>
            </a:r>
          </a:p>
        </p:txBody>
      </p:sp>
      <p:sp>
        <p:nvSpPr>
          <p:cNvPr id="22" name="Shape 839"/>
          <p:cNvSpPr/>
          <p:nvPr/>
        </p:nvSpPr>
        <p:spPr>
          <a:xfrm>
            <a:off x="4456906" y="1435131"/>
            <a:ext cx="176984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ssessment</a:t>
            </a:r>
          </a:p>
        </p:txBody>
      </p:sp>
      <p:cxnSp>
        <p:nvCxnSpPr>
          <p:cNvPr id="24" name="Curved Connector 23"/>
          <p:cNvCxnSpPr>
            <a:stCxn id="8" idx="0"/>
            <a:endCxn id="7" idx="0"/>
          </p:cNvCxnSpPr>
          <p:nvPr/>
        </p:nvCxnSpPr>
        <p:spPr>
          <a:xfrm rot="16200000" flipV="1">
            <a:off x="880054" y="908201"/>
            <a:ext cx="12700" cy="1044337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urved Connector 24"/>
          <p:cNvCxnSpPr>
            <a:stCxn id="21" idx="0"/>
            <a:endCxn id="8" idx="0"/>
          </p:cNvCxnSpPr>
          <p:nvPr/>
        </p:nvCxnSpPr>
        <p:spPr>
          <a:xfrm rot="16200000" flipH="1" flipV="1">
            <a:off x="2566646" y="261182"/>
            <a:ext cx="4764" cy="2333611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urved Connector 28"/>
          <p:cNvCxnSpPr>
            <a:stCxn id="21" idx="0"/>
            <a:endCxn id="7" idx="0"/>
          </p:cNvCxnSpPr>
          <p:nvPr/>
        </p:nvCxnSpPr>
        <p:spPr>
          <a:xfrm rot="16200000" flipH="1" flipV="1">
            <a:off x="2044477" y="-260986"/>
            <a:ext cx="4764" cy="3377948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urved Connector 30"/>
          <p:cNvCxnSpPr>
            <a:stCxn id="22" idx="0"/>
            <a:endCxn id="10" idx="0"/>
          </p:cNvCxnSpPr>
          <p:nvPr/>
        </p:nvCxnSpPr>
        <p:spPr>
          <a:xfrm rot="16200000" flipV="1">
            <a:off x="3866836" y="132563"/>
            <a:ext cx="4761" cy="2600376"/>
          </a:xfrm>
          <a:prstGeom prst="curvedConnector3">
            <a:avLst>
              <a:gd name="adj1" fmla="val 4901512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urved Connector 34"/>
          <p:cNvCxnSpPr>
            <a:stCxn id="11" idx="2"/>
            <a:endCxn id="7" idx="2"/>
          </p:cNvCxnSpPr>
          <p:nvPr/>
        </p:nvCxnSpPr>
        <p:spPr>
          <a:xfrm rot="5400000">
            <a:off x="3558051" y="-1080095"/>
            <a:ext cx="12700" cy="6400331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urved Connector 37"/>
          <p:cNvCxnSpPr>
            <a:stCxn id="22" idx="2"/>
            <a:endCxn id="21" idx="2"/>
          </p:cNvCxnSpPr>
          <p:nvPr/>
        </p:nvCxnSpPr>
        <p:spPr>
          <a:xfrm rot="5400000" flipH="1">
            <a:off x="4447856" y="1403284"/>
            <a:ext cx="9525" cy="1433571"/>
          </a:xfrm>
          <a:prstGeom prst="curvedConnector3">
            <a:avLst>
              <a:gd name="adj1" fmla="val -24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5">
            <a:extLst>
              <a:ext uri="{FF2B5EF4-FFF2-40B4-BE49-F238E27FC236}">
                <a16:creationId xmlns:a16="http://schemas.microsoft.com/office/drawing/2014/main" id="{594A99A6-A122-7241-A528-F88FE1CED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0083728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7163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D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0505497B-833F-C649-8126-B4C28DC53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B1D592AA-17AC-774D-8119-5A393CA4CD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9/27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0130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hat happens with multi-collinearity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The good new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Best Practi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ffect is exaggerated e.g. double counted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ther algorithms are not affected by double count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en though R removes it, do not rely on the function.  Understanding the data you put in will avoid “garbage in, garbage out” scenarios.</a:t>
            </a:r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3042457" y="4971012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Make happy cats by</a:t>
            </a:r>
          </a:p>
          <a:p>
            <a:pPr algn="ctr"/>
            <a:r>
              <a:rPr lang="en-US" sz="1400" dirty="0"/>
              <a:t> knowing your data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1995084-0CA9-6D42-8B1A-615F443D0F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R, script D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9A8DC6-A5F2-4C44-B5E1-CC6718870E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83813429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957" y="1483393"/>
            <a:ext cx="6315075" cy="4629150"/>
          </a:xfrm>
          <a:prstGeom prst="rect">
            <a:avLst/>
          </a:prstGeom>
        </p:spPr>
      </p:pic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3B6EC10E-0713-A647-89AD-F2F2FABE0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8791914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334BB452-FA0D-474F-9C83-B1E1F41EE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nother name for errors.</a:t>
            </a:r>
          </a:p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AD23BDEA-A70E-C341-89CB-E01AE32EB6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1546694E-9D07-014F-9337-9E1709134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6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DEF1774D-7B2F-764C-8342-3A2A433C49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165558" y="2438400"/>
            <a:ext cx="2399024" cy="12612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421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average amount that the coefficients vary from the actual average value of our response variable.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203032" y="2485943"/>
            <a:ext cx="962526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65D227B7-0814-9544-B047-9C1F84968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6853758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862368" y="2427316"/>
            <a:ext cx="1702214" cy="12883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coefficient t-value is a measure of how many standard deviations our coefficient estimate is far away from 0.  In another way, values away from 0 indicate a real relationship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130848" y="2501986"/>
            <a:ext cx="731520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78C65AE5-8B9A-D746-AE91-5E9B13934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942080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9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The probability of seeing a value larger than the t value.</a:t>
            </a:r>
          </a:p>
          <a:p>
            <a:pPr algn="ctr"/>
            <a:r>
              <a:rPr lang="en-US" sz="1200" dirty="0"/>
              <a:t>Small p-values mean its less likely due to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654A954B-6362-5747-912F-EEB797EEA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When used with </a:t>
            </a:r>
            <a:r>
              <a:rPr lang="en-US" altLang="en-US" u="sng" dirty="0">
                <a:latin typeface="Franklin Gothic Book" pitchFamily="34" charset="0"/>
              </a:rPr>
              <a:t>new</a:t>
            </a:r>
            <a:r>
              <a:rPr lang="en-US" altLang="en-US" dirty="0">
                <a:latin typeface="Franklin Gothic Book" pitchFamily="34" charset="0"/>
              </a:rPr>
              <a:t> data, models of great complexity may do not do so well.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4B7D50C-0022-2E43-8754-3CBFEE1FBC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0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In stats p &lt;0.05 is good but in business I have seen p&lt;0.2.</a:t>
            </a:r>
          </a:p>
          <a:p>
            <a:pPr algn="ctr"/>
            <a:r>
              <a:rPr lang="en-US" sz="1200" dirty="0"/>
              <a:t>It’s a good idea to rebuild a model without variables that do not meet the cutoff.</a:t>
            </a:r>
          </a:p>
        </p:txBody>
      </p:sp>
      <p:cxnSp>
        <p:nvCxnSpPr>
          <p:cNvPr id="9" name="Elbow Connector 8"/>
          <p:cNvCxnSpPr>
            <a:stCxn id="11" idx="3"/>
            <a:endCxn id="13" idx="3"/>
          </p:cNvCxnSpPr>
          <p:nvPr/>
        </p:nvCxnSpPr>
        <p:spPr>
          <a:xfrm flipV="1">
            <a:off x="7614458" y="1853739"/>
            <a:ext cx="1213658" cy="1827925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7C6D381-AD02-C742-899A-CB82C6B044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1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814646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We could drop ??? Based on p values?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91200" y="2493825"/>
            <a:ext cx="1823258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687484"/>
            <a:ext cx="1213658" cy="2019999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81890" y="5752407"/>
            <a:ext cx="7880465" cy="515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What variables should we drop with a p-value &gt;=0.2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747F358C-CA0D-0649-88E5-16AFA2EF61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02039845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the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A385-5F86-6A42-BA4C-E9132354F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3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score and time to predict are all impacted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CA807167-92BA-9C47-8FAE-FAE64B31C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4</a:t>
            </a:fld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-</a:t>
            </a:r>
            <a:r>
              <a:rPr lang="en-US" sz="1100" dirty="0" err="1"/>
              <a:t>Sq</a:t>
            </a:r>
            <a:r>
              <a:rPr lang="en-US" sz="1100" dirty="0"/>
              <a:t>: how much of the variation are the model is fitting. R-</a:t>
            </a:r>
            <a:r>
              <a:rPr lang="en-US" sz="1100" dirty="0" err="1"/>
              <a:t>Sq</a:t>
            </a:r>
            <a:r>
              <a:rPr lang="en-US" sz="1100" dirty="0"/>
              <a:t>  measures the linear relationship between Price &amp; 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C3444DF-7ADD-EC4E-9B1F-D0667D3EE5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5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6851733" y="2379495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13EE7097-FFEF-F148-8B51-7DCC45D6B2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6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255780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5F47930-7DB6-DA42-93CF-AF2683E5AB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04995EDA-6662-044E-B82F-B26D1CA998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09AE1DD6-3832-4648-92FF-5560975FC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divide that by the </a:t>
            </a:r>
            <a:r>
              <a:rPr lang="en-US" b="1" u="sng" dirty="0">
                <a:solidFill>
                  <a:schemeClr val="bg1"/>
                </a:solidFill>
              </a:rPr>
              <a:t>forecast</a:t>
            </a:r>
            <a:r>
              <a:rPr lang="en-US" dirty="0">
                <a:solidFill>
                  <a:schemeClr val="bg1"/>
                </a:solidFill>
              </a:rPr>
              <a:t> value.  Lastly calculate a mean average of all the percentage errors.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305170"/>
              </p:ext>
            </p:extLst>
          </p:nvPr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5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 % of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6/16 or </a:t>
                      </a:r>
                      <a:r>
                        <a:rPr lang="en-US" b="1" dirty="0"/>
                        <a:t>3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4/8 or </a:t>
                      </a:r>
                    </a:p>
                    <a:p>
                      <a:pPr algn="ctr"/>
                      <a:r>
                        <a:rPr lang="en-US" b="1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3/17 or </a:t>
                      </a:r>
                      <a:r>
                        <a:rPr lang="en-US" b="1" dirty="0"/>
                        <a:t>1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2/34 or </a:t>
                      </a:r>
                    </a:p>
                    <a:p>
                      <a:pPr algn="ctr"/>
                      <a:r>
                        <a:rPr lang="en-US" b="1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Percentag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7%+50%+17%+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27.7%</a:t>
            </a:r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37F973EE-3F9F-0B47-8496-24706EFE6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503271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F7973B9-1E6D-9746-A569-BB17FC50E6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0</a:t>
            </a:fld>
            <a:endParaRPr lang="en-US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0FDCE6B2-0B24-D046-9D4E-36EB93C6FA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Data Mining Tool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1</a:t>
            </a:fld>
            <a:endParaRPr lang="en-US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1" y="1714500"/>
            <a:ext cx="523875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Visualization</a:t>
            </a:r>
          </a:p>
          <a:p>
            <a:endParaRPr lang="en-US" dirty="0"/>
          </a:p>
          <a:p>
            <a:r>
              <a:rPr lang="en-US" u="sng" dirty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continuous business outcomes using linear regress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53340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 is an initial starting algorithm. It puts you on a path to more complex machine learning but more importantly you can start to frame business problems in terms algorithms can understand. </a:t>
            </a:r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0902" y="3960145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A3257694-CBCA-0A4F-BFA8-7C59569A37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79659191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21856" y="1104653"/>
            <a:ext cx="850557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Next Week is Logistic Regression, KN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hapter 7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hapter 10</a:t>
            </a:r>
          </a:p>
          <a:p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Suggested Homework – check syllabus!</a:t>
            </a:r>
          </a:p>
          <a:p>
            <a:r>
              <a:rPr lang="en-US" sz="2400" dirty="0"/>
              <a:t>	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sekeeping , Reading &amp; Home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2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589548" y="2878924"/>
            <a:ext cx="79649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589548" y="3796463"/>
            <a:ext cx="79649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9A64BE6-0AD1-C24E-8490-4373C732F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381844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F84F95-C2E8-5743-83EA-CA3C7972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BB5E43-38DF-2945-B1B2-733E74D43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view of overfitting to a probl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5F448-4515-1D4A-BA82-A3EB0EEF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7C3F-1517-C648-982A-F1A148DFF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450" y="2158492"/>
            <a:ext cx="4737100" cy="3175000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E9CD8A6A-0546-234C-8973-614ED403A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6381652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9/27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fitting, continu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0075" y="1500188"/>
            <a:ext cx="7772400" cy="419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auses: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Too many predictors start to inject noise not signal 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Not adhering to a priori partitioning – </a:t>
            </a:r>
            <a:r>
              <a:rPr lang="en-US" sz="2200" i="1" dirty="0">
                <a:latin typeface="Franklin Gothic Book" pitchFamily="34" charset="0"/>
              </a:rPr>
              <a:t>up next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Lack of data knowledge &amp; problem understanding</a:t>
            </a:r>
          </a:p>
          <a:p>
            <a:pPr>
              <a:defRPr/>
            </a:pPr>
            <a:endParaRPr lang="en-US" dirty="0">
              <a:latin typeface="Franklin Gothic Book" pitchFamily="34" charset="0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onsequence:  Deployed model will not work as well as expected with completely new data.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F1A5FB38-74F2-5D47-A775-AB0E0CCCAF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40531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121</TotalTime>
  <Words>3447</Words>
  <Application>Microsoft Macintosh PowerPoint</Application>
  <PresentationFormat>On-screen Show (4:3)</PresentationFormat>
  <Paragraphs>785</Paragraphs>
  <Slides>72</Slides>
  <Notes>21</Notes>
  <HiddenSlides>0</HiddenSlides>
  <MMClips>1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83" baseType="lpstr">
      <vt:lpstr>Arial</vt:lpstr>
      <vt:lpstr>Calibri</vt:lpstr>
      <vt:lpstr>Calibri Light</vt:lpstr>
      <vt:lpstr>Cambria Math</vt:lpstr>
      <vt:lpstr>Franklin Gothic Book</vt:lpstr>
      <vt:lpstr>Helvetica Neue</vt:lpstr>
      <vt:lpstr>Open Sans</vt:lpstr>
      <vt:lpstr>Perpetua</vt:lpstr>
      <vt:lpstr>Wingdings 2</vt:lpstr>
      <vt:lpstr>1_Office Theme</vt:lpstr>
      <vt:lpstr>think-cell Slide</vt:lpstr>
      <vt:lpstr>Regression</vt:lpstr>
      <vt:lpstr>Agenda</vt:lpstr>
      <vt:lpstr>Let’s Practice</vt:lpstr>
      <vt:lpstr>PowerPoint Presentation</vt:lpstr>
      <vt:lpstr>Agenda</vt:lpstr>
      <vt:lpstr>The Problem of Overfitting</vt:lpstr>
      <vt:lpstr>100% fit – not useful for new data</vt:lpstr>
      <vt:lpstr>Another view of overfitting to a problem…</vt:lpstr>
      <vt:lpstr>Overfitting, continued.</vt:lpstr>
      <vt:lpstr>Minimize Overfitting - Partitioning</vt:lpstr>
      <vt:lpstr>Minimize Overfitting - Partitioning</vt:lpstr>
      <vt:lpstr>Best Practice </vt:lpstr>
      <vt:lpstr>Next Glass</vt:lpstr>
      <vt:lpstr>Let’s Practice</vt:lpstr>
      <vt:lpstr>Review</vt:lpstr>
      <vt:lpstr>Agenda</vt:lpstr>
      <vt:lpstr>Supervised Learning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Squared Error?</vt:lpstr>
      <vt:lpstr>Why Squared Error?</vt:lpstr>
      <vt:lpstr>So what is really going on?</vt:lpstr>
      <vt:lpstr>Let’s Practice</vt:lpstr>
      <vt:lpstr>Topics</vt:lpstr>
      <vt:lpstr>Explanatory Vs Predictive</vt:lpstr>
      <vt:lpstr>Explanatory Modeling</vt:lpstr>
      <vt:lpstr>Predictive Modeling</vt:lpstr>
      <vt:lpstr>Explanatory Vs Predictive Modeling</vt:lpstr>
      <vt:lpstr>Agenda</vt:lpstr>
      <vt:lpstr>How does truecar.com know the price is “great?”</vt:lpstr>
      <vt:lpstr>PowerPoint Presentation</vt:lpstr>
      <vt:lpstr>Welcome Dale to TrueCar’s Competitor: OldCar</vt:lpstr>
      <vt:lpstr>Let’s help Dale again.</vt:lpstr>
      <vt:lpstr>Remember the Workflow?</vt:lpstr>
      <vt:lpstr>Let’s practice.</vt:lpstr>
      <vt:lpstr>Regression is susceptible to multi-colinearity</vt:lpstr>
      <vt:lpstr>Regression is susceptible to multi-colinearity</vt:lpstr>
      <vt:lpstr>Back to R, script D!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Back to the script D</vt:lpstr>
      <vt:lpstr>Parsimonious Model</vt:lpstr>
      <vt:lpstr>Parsimonious Model</vt:lpstr>
      <vt:lpstr>Compare the two models</vt:lpstr>
      <vt:lpstr>Evaluating a Prediction Model</vt:lpstr>
      <vt:lpstr>RMSE</vt:lpstr>
      <vt:lpstr>RMSE</vt:lpstr>
      <vt:lpstr>MAPE</vt:lpstr>
      <vt:lpstr>Back to script D</vt:lpstr>
      <vt:lpstr>Your Data Mining Toolbox</vt:lpstr>
      <vt:lpstr>Housekeeping , Reading &amp; Homework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Edward Kwartler</cp:lastModifiedBy>
  <cp:revision>267</cp:revision>
  <dcterms:created xsi:type="dcterms:W3CDTF">2018-05-23T17:24:59Z</dcterms:created>
  <dcterms:modified xsi:type="dcterms:W3CDTF">2020-09-27T19:37:33Z</dcterms:modified>
</cp:coreProperties>
</file>